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8:01:06.519" v="91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8:01:06.519" v="91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0% – Verkehrsertrag</c:v>
                </c:pt>
                <c:pt idx="1">
                  <c:v>6% – Mieterträge Liegenschaften</c:v>
                </c:pt>
                <c:pt idx="2">
                  <c:v>14% – Nebenerträge</c:v>
                </c:pt>
                <c:pt idx="3">
                  <c:v>13% – Eigenleistungen</c:v>
                </c:pt>
                <c:pt idx="4">
                  <c:v>28% – Leistungen der öffentlichen Hand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577.5478142690199</c:v>
                </c:pt>
                <c:pt idx="1">
                  <c:v>685.68174177096</c:v>
                </c:pt>
                <c:pt idx="2">
                  <c:v>1584.25570858476</c:v>
                </c:pt>
                <c:pt idx="3">
                  <c:v>1429.4126206200001</c:v>
                </c:pt>
                <c:pt idx="4">
                  <c:v>3147.357854832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5817314502551627"/>
          <c:h val="0.16631943798218349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2% – Personalaufwand</c:v>
                </c:pt>
                <c:pt idx="1">
                  <c:v>8% – Materialaufwand</c:v>
                </c:pt>
                <c:pt idx="2">
                  <c:v>11% – Betriebs- und Unterhaltsleistungen Dritter</c:v>
                </c:pt>
                <c:pt idx="3">
                  <c:v>16% – Übriger Aufwand</c:v>
                </c:pt>
                <c:pt idx="4">
                  <c:v>23% – Abschreibungen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685.2754837963803</c:v>
                </c:pt>
                <c:pt idx="1">
                  <c:v>-899.61867697369496</c:v>
                </c:pt>
                <c:pt idx="2">
                  <c:v>-1179.75748389456</c:v>
                </c:pt>
                <c:pt idx="3">
                  <c:v>-1739.2330630282599</c:v>
                </c:pt>
                <c:pt idx="4">
                  <c:v>-2545.94241412003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75263296478234698"/>
          <c:h val="0.16451915593179803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307823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097488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CH" dirty="0"/>
              <a:t>Betriebsertrag und Betriebsaufwand im 2023.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34933" y="6108867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4F5BABE-F7A1-4117-ABCF-C59149FA83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</Words>
  <Application>Microsoft Office PowerPoint</Application>
  <PresentationFormat>Breitbild</PresentationFormat>
  <Paragraphs>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